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78" d="100"/>
          <a:sy n="78" d="100"/>
        </p:scale>
        <p:origin x="90" y="762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6/1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1/06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 June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50AC2A79-0908-4247-8CA0-4A2B18215F1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593117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Une économie d'énergie d'au moins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5%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grâce aux nouvelles Eco-lampes sur la Series2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Niveau de rayonnement accru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ontage facil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Un meilleur zonage et une protection du col renforcé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Une</a:t>
                      </a: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stabilité</a:t>
                      </a: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du </a:t>
                      </a:r>
                      <a:r>
                        <a:rPr kumimoji="0" lang="en-US" sz="12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processus</a:t>
                      </a: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améliorée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Le tube en quartz bénéficie d'une protection mécaniqu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Les </a:t>
                      </a:r>
                      <a:r>
                        <a:rPr lang="en-US" sz="1200" dirty="0" err="1"/>
                        <a:t>capacités</a:t>
                      </a:r>
                      <a:r>
                        <a:rPr lang="en-US" sz="1200" dirty="0"/>
                        <a:t> de Process </a:t>
                      </a:r>
                      <a:r>
                        <a:rPr lang="en-US" sz="1200" dirty="0" err="1"/>
                        <a:t>demeurent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universelles</a:t>
                      </a: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fr-FR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Combinez les Eco-lampes et le réflecteur supérieur de four sur souffleuses Series 1 ou Series 2 et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réduisez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fr-FR" sz="1200" dirty="0"/>
                        <a:t>jusqu'à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30 % la consommation d'électricité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 nouveaux types de lampes, basés sur une technologie éprouvée, avec deux hauteurs différentes pour s'adapter au râtelier original à pas progressif :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4 à 6 lampes : 2 kW 400 V pas de 19 mm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utres lampes : 2 kW 400 V pas de 14mm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gestion de la ventilation du four évolue. Lorsque la machine s'arrête, la ventilation est maintenue à un niveau stable (100 % pendant 7 min) de manière à rapidement évacuer les calories accumulée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dirty="0"/>
              <a:t>Réduisez la consommation </a:t>
            </a:r>
            <a:r>
              <a:rPr dirty="0" err="1"/>
              <a:t>d'électricité</a:t>
            </a:r>
            <a:r>
              <a:rPr dirty="0"/>
              <a:t> </a:t>
            </a:r>
            <a:r>
              <a:rPr lang="fr-FR" dirty="0"/>
              <a:t>jusqu'à </a:t>
            </a:r>
            <a:r>
              <a:rPr dirty="0"/>
              <a:t>15 %</a:t>
            </a: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89" y="1426703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Eco-lampes pour </a:t>
            </a:r>
            <a:r>
              <a:rPr dirty="0" err="1"/>
              <a:t>Séries</a:t>
            </a:r>
            <a:r>
              <a:rPr dirty="0"/>
              <a:t> 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fr-FR" sz="800" kern="0" dirty="0">
                <a:solidFill>
                  <a:srgbClr val="000000"/>
                </a:solidFill>
              </a:rPr>
              <a:t>Valeur : Optimisation des coûts, Développement durable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Series 2</a:t>
            </a:r>
            <a:r>
              <a:rPr lang="en-US" sz="800" kern="0" dirty="0"/>
              <a:t> </a:t>
            </a:r>
            <a:r>
              <a:rPr lang="en-US" sz="800" kern="0" dirty="0" err="1"/>
              <a:t>sauf</a:t>
            </a:r>
            <a:r>
              <a:rPr lang="en-US" sz="800" kern="0"/>
              <a:t> la version Heat-Se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545124"/>
            <a:ext cx="2935023" cy="91963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F62350A2-99C4-4B02-8002-C3184988089B}"/>
              </a:ext>
            </a:extLst>
          </p:cNvPr>
          <p:cNvSpPr/>
          <p:nvPr/>
        </p:nvSpPr>
        <p:spPr>
          <a:xfrm>
            <a:off x="4763307" y="1737477"/>
            <a:ext cx="3882218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EC03EC5-D79C-442C-AEBC-C6CDC89DB7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3175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27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99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éduisez la consommation d'électricité jusqu'à 15 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1-06-01T11:2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8-03T14:21:22.8075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1T11:21:41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